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16747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166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hyperlink" Target="https://www.youtube.com/watch?v=X2m-08cOAbc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hlinkClick r:id="rId2"/>
            <a:extLst>
              <a:ext uri="{FF2B5EF4-FFF2-40B4-BE49-F238E27FC236}">
                <a16:creationId xmlns:a16="http://schemas.microsoft.com/office/drawing/2014/main" id="{71669F85-2DFF-584C-8F57-F07FD3B5147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/>
          <a:srcRect l="16194" r="1619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3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yan Reynolds, Taika </a:t>
            </a:r>
            <a:r>
              <a:rPr lang="en-US" dirty="0" err="1">
                <a:solidFill>
                  <a:schemeClr val="accent6"/>
                </a:solidFill>
              </a:rPr>
              <a:t>Waititi</a:t>
            </a:r>
            <a:r>
              <a:rPr lang="en-US" dirty="0">
                <a:solidFill>
                  <a:schemeClr val="accent6"/>
                </a:solidFill>
              </a:rPr>
              <a:t>, Jodie Comer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Shawn Levy (</a:t>
            </a:r>
            <a:r>
              <a:rPr lang="en-US" i="1" dirty="0">
                <a:solidFill>
                  <a:schemeClr val="accent6"/>
                </a:solidFill>
              </a:rPr>
              <a:t>Night of the Museum: Secret of the Tomb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Rampag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yan Reynolds has the magic touch when it comes to action comedie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153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50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bank teller discovers that he's actually an NPC (non-playable character) inside a brutal, open world video game.</a:t>
            </a:r>
          </a:p>
          <a:p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Free gu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An NPC finally gets his time in the spotligh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237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8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Free guy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Free guy</dc:description>
  <cp:lastModifiedBy/>
  <cp:revision>1</cp:revision>
  <dcterms:created xsi:type="dcterms:W3CDTF">2019-03-25T11:13:20Z</dcterms:created>
  <dcterms:modified xsi:type="dcterms:W3CDTF">2021-07-07T10:43:5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Free guy</vt:lpwstr>
  </property>
</Properties>
</file>